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2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7679B-D71B-FA09-32ED-9D7093B150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57E9CD8-3A11-27B2-814E-7836131FB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7E9CD8-3A11-27B2-814E-7836131FB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B473B5-9BDF-7D35-58C8-0EA2E7DB6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6E4B83-70FF-D6D3-B85F-C0548304A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ree infographic</a:t>
            </a:r>
          </a:p>
        </p:txBody>
      </p:sp>
      <p:sp>
        <p:nvSpPr>
          <p:cNvPr id="5" name="Freeform 16">
            <a:extLst>
              <a:ext uri="{FF2B5EF4-FFF2-40B4-BE49-F238E27FC236}">
                <a16:creationId xmlns:a16="http://schemas.microsoft.com/office/drawing/2014/main" id="{FACAAEFD-32AD-070C-E0A5-395EA7881542}"/>
              </a:ext>
            </a:extLst>
          </p:cNvPr>
          <p:cNvSpPr>
            <a:spLocks/>
          </p:cNvSpPr>
          <p:nvPr/>
        </p:nvSpPr>
        <p:spPr bwMode="auto">
          <a:xfrm>
            <a:off x="2440709" y="3936586"/>
            <a:ext cx="1123358" cy="674736"/>
          </a:xfrm>
          <a:custGeom>
            <a:avLst/>
            <a:gdLst>
              <a:gd name="T0" fmla="*/ 538 w 546"/>
              <a:gd name="T1" fmla="*/ 329 h 329"/>
              <a:gd name="T2" fmla="*/ 0 w 546"/>
              <a:gd name="T3" fmla="*/ 329 h 329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546" h="329">
                <a:moveTo>
                  <a:pt x="538" y="329"/>
                </a:moveTo>
                <a:cubicBezTo>
                  <a:pt x="546" y="319"/>
                  <a:pt x="269" y="0"/>
                  <a:pt x="0" y="329"/>
                </a:cubicBezTo>
              </a:path>
            </a:pathLst>
          </a:custGeom>
          <a:noFill/>
          <a:ln w="25400" cap="flat">
            <a:solidFill>
              <a:schemeClr val="accent1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16">
            <a:extLst>
              <a:ext uri="{FF2B5EF4-FFF2-40B4-BE49-F238E27FC236}">
                <a16:creationId xmlns:a16="http://schemas.microsoft.com/office/drawing/2014/main" id="{E72A48E0-8249-8D46-04E9-C763ACB68214}"/>
              </a:ext>
            </a:extLst>
          </p:cNvPr>
          <p:cNvSpPr>
            <a:spLocks/>
          </p:cNvSpPr>
          <p:nvPr/>
        </p:nvSpPr>
        <p:spPr bwMode="auto">
          <a:xfrm>
            <a:off x="3684893" y="1598120"/>
            <a:ext cx="1123358" cy="674736"/>
          </a:xfrm>
          <a:custGeom>
            <a:avLst/>
            <a:gdLst>
              <a:gd name="T0" fmla="*/ 538 w 546"/>
              <a:gd name="T1" fmla="*/ 329 h 329"/>
              <a:gd name="T2" fmla="*/ 0 w 546"/>
              <a:gd name="T3" fmla="*/ 329 h 329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546" h="329">
                <a:moveTo>
                  <a:pt x="538" y="329"/>
                </a:moveTo>
                <a:cubicBezTo>
                  <a:pt x="546" y="319"/>
                  <a:pt x="269" y="0"/>
                  <a:pt x="0" y="329"/>
                </a:cubicBezTo>
              </a:path>
            </a:pathLst>
          </a:custGeom>
          <a:noFill/>
          <a:ln w="25400" cap="flat">
            <a:solidFill>
              <a:schemeClr val="accent2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7">
            <a:extLst>
              <a:ext uri="{FF2B5EF4-FFF2-40B4-BE49-F238E27FC236}">
                <a16:creationId xmlns:a16="http://schemas.microsoft.com/office/drawing/2014/main" id="{27E48092-4D9A-DA75-4E4B-F2766C1CA97F}"/>
              </a:ext>
            </a:extLst>
          </p:cNvPr>
          <p:cNvSpPr>
            <a:spLocks/>
          </p:cNvSpPr>
          <p:nvPr/>
        </p:nvSpPr>
        <p:spPr bwMode="auto">
          <a:xfrm rot="21093162">
            <a:off x="7371867" y="2169356"/>
            <a:ext cx="754117" cy="607383"/>
          </a:xfrm>
          <a:custGeom>
            <a:avLst/>
            <a:gdLst>
              <a:gd name="T0" fmla="*/ 0 w 366"/>
              <a:gd name="T1" fmla="*/ 296 h 296"/>
              <a:gd name="T2" fmla="*/ 366 w 366"/>
              <a:gd name="T3" fmla="*/ 64 h 296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366" h="296">
                <a:moveTo>
                  <a:pt x="0" y="296"/>
                </a:moveTo>
                <a:cubicBezTo>
                  <a:pt x="0" y="296"/>
                  <a:pt x="110" y="0"/>
                  <a:pt x="366" y="64"/>
                </a:cubicBez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8">
            <a:extLst>
              <a:ext uri="{FF2B5EF4-FFF2-40B4-BE49-F238E27FC236}">
                <a16:creationId xmlns:a16="http://schemas.microsoft.com/office/drawing/2014/main" id="{3B640F5B-89F5-EC35-4685-A6D050084DF3}"/>
              </a:ext>
            </a:extLst>
          </p:cNvPr>
          <p:cNvSpPr>
            <a:spLocks/>
          </p:cNvSpPr>
          <p:nvPr/>
        </p:nvSpPr>
        <p:spPr bwMode="auto">
          <a:xfrm>
            <a:off x="8478994" y="3022191"/>
            <a:ext cx="902054" cy="398107"/>
          </a:xfrm>
          <a:custGeom>
            <a:avLst/>
            <a:gdLst>
              <a:gd name="T0" fmla="*/ 0 w 438"/>
              <a:gd name="T1" fmla="*/ 194 h 194"/>
              <a:gd name="T2" fmla="*/ 438 w 438"/>
              <a:gd name="T3" fmla="*/ 194 h 19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438" h="194">
                <a:moveTo>
                  <a:pt x="0" y="194"/>
                </a:moveTo>
                <a:cubicBezTo>
                  <a:pt x="0" y="194"/>
                  <a:pt x="222" y="0"/>
                  <a:pt x="438" y="194"/>
                </a:cubicBezTo>
              </a:path>
            </a:pathLst>
          </a:custGeom>
          <a:noFill/>
          <a:ln w="25400" cap="flat">
            <a:solidFill>
              <a:schemeClr val="accent4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BD932360-91F6-4DA9-4566-C23188546220}"/>
              </a:ext>
            </a:extLst>
          </p:cNvPr>
          <p:cNvSpPr>
            <a:spLocks/>
          </p:cNvSpPr>
          <p:nvPr/>
        </p:nvSpPr>
        <p:spPr bwMode="auto">
          <a:xfrm rot="21035063">
            <a:off x="8151708" y="4636335"/>
            <a:ext cx="902054" cy="398107"/>
          </a:xfrm>
          <a:custGeom>
            <a:avLst/>
            <a:gdLst>
              <a:gd name="T0" fmla="*/ 0 w 438"/>
              <a:gd name="T1" fmla="*/ 194 h 194"/>
              <a:gd name="T2" fmla="*/ 438 w 438"/>
              <a:gd name="T3" fmla="*/ 194 h 19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438" h="194">
                <a:moveTo>
                  <a:pt x="0" y="194"/>
                </a:moveTo>
                <a:cubicBezTo>
                  <a:pt x="0" y="194"/>
                  <a:pt x="222" y="0"/>
                  <a:pt x="438" y="194"/>
                </a:cubicBezTo>
              </a:path>
            </a:pathLst>
          </a:custGeom>
          <a:noFill/>
          <a:ln w="25400" cap="flat">
            <a:solidFill>
              <a:schemeClr val="accent5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11">
            <a:extLst>
              <a:ext uri="{FF2B5EF4-FFF2-40B4-BE49-F238E27FC236}">
                <a16:creationId xmlns:a16="http://schemas.microsoft.com/office/drawing/2014/main" id="{9B159538-65F8-8E8C-4AB4-BAC99AFBB335}"/>
              </a:ext>
            </a:extLst>
          </p:cNvPr>
          <p:cNvSpPr>
            <a:spLocks/>
          </p:cNvSpPr>
          <p:nvPr/>
        </p:nvSpPr>
        <p:spPr bwMode="auto">
          <a:xfrm>
            <a:off x="4859075" y="3902793"/>
            <a:ext cx="2927149" cy="2955206"/>
          </a:xfrm>
          <a:custGeom>
            <a:avLst/>
            <a:gdLst>
              <a:gd name="T0" fmla="*/ 318 w 1900"/>
              <a:gd name="T1" fmla="*/ 1924 h 1924"/>
              <a:gd name="T2" fmla="*/ 519 w 1900"/>
              <a:gd name="T3" fmla="*/ 1788 h 1924"/>
              <a:gd name="T4" fmla="*/ 724 w 1900"/>
              <a:gd name="T5" fmla="*/ 1420 h 1924"/>
              <a:gd name="T6" fmla="*/ 729 w 1900"/>
              <a:gd name="T7" fmla="*/ 1287 h 1924"/>
              <a:gd name="T8" fmla="*/ 484 w 1900"/>
              <a:gd name="T9" fmla="*/ 760 h 1924"/>
              <a:gd name="T10" fmla="*/ 0 w 1900"/>
              <a:gd name="T11" fmla="*/ 576 h 1924"/>
              <a:gd name="T12" fmla="*/ 26 w 1900"/>
              <a:gd name="T13" fmla="*/ 447 h 1924"/>
              <a:gd name="T14" fmla="*/ 492 w 1900"/>
              <a:gd name="T15" fmla="*/ 624 h 1924"/>
              <a:gd name="T16" fmla="*/ 406 w 1900"/>
              <a:gd name="T17" fmla="*/ 0 h 1924"/>
              <a:gd name="T18" fmla="*/ 534 w 1900"/>
              <a:gd name="T19" fmla="*/ 0 h 1924"/>
              <a:gd name="T20" fmla="*/ 595 w 1900"/>
              <a:gd name="T21" fmla="*/ 417 h 1924"/>
              <a:gd name="T22" fmla="*/ 632 w 1900"/>
              <a:gd name="T23" fmla="*/ 571 h 1924"/>
              <a:gd name="T24" fmla="*/ 678 w 1900"/>
              <a:gd name="T25" fmla="*/ 665 h 1924"/>
              <a:gd name="T26" fmla="*/ 678 w 1900"/>
              <a:gd name="T27" fmla="*/ 665 h 1924"/>
              <a:gd name="T28" fmla="*/ 801 w 1900"/>
              <a:gd name="T29" fmla="*/ 708 h 1924"/>
              <a:gd name="T30" fmla="*/ 801 w 1900"/>
              <a:gd name="T31" fmla="*/ 708 h 1924"/>
              <a:gd name="T32" fmla="*/ 856 w 1900"/>
              <a:gd name="T33" fmla="*/ 639 h 1924"/>
              <a:gd name="T34" fmla="*/ 894 w 1900"/>
              <a:gd name="T35" fmla="*/ 150 h 1924"/>
              <a:gd name="T36" fmla="*/ 1016 w 1900"/>
              <a:gd name="T37" fmla="*/ 146 h 1924"/>
              <a:gd name="T38" fmla="*/ 1023 w 1900"/>
              <a:gd name="T39" fmla="*/ 307 h 1924"/>
              <a:gd name="T40" fmla="*/ 1078 w 1900"/>
              <a:gd name="T41" fmla="*/ 343 h 1924"/>
              <a:gd name="T42" fmla="*/ 1093 w 1900"/>
              <a:gd name="T43" fmla="*/ 330 h 1924"/>
              <a:gd name="T44" fmla="*/ 1374 w 1900"/>
              <a:gd name="T45" fmla="*/ 44 h 1924"/>
              <a:gd name="T46" fmla="*/ 1482 w 1900"/>
              <a:gd name="T47" fmla="*/ 98 h 1924"/>
              <a:gd name="T48" fmla="*/ 1140 w 1900"/>
              <a:gd name="T49" fmla="*/ 451 h 1924"/>
              <a:gd name="T50" fmla="*/ 1077 w 1900"/>
              <a:gd name="T51" fmla="*/ 582 h 1924"/>
              <a:gd name="T52" fmla="*/ 1077 w 1900"/>
              <a:gd name="T53" fmla="*/ 582 h 1924"/>
              <a:gd name="T54" fmla="*/ 1077 w 1900"/>
              <a:gd name="T55" fmla="*/ 633 h 1924"/>
              <a:gd name="T56" fmla="*/ 1077 w 1900"/>
              <a:gd name="T57" fmla="*/ 652 h 1924"/>
              <a:gd name="T58" fmla="*/ 1138 w 1900"/>
              <a:gd name="T59" fmla="*/ 738 h 1924"/>
              <a:gd name="T60" fmla="*/ 1174 w 1900"/>
              <a:gd name="T61" fmla="*/ 726 h 1924"/>
              <a:gd name="T62" fmla="*/ 1174 w 1900"/>
              <a:gd name="T63" fmla="*/ 726 h 1924"/>
              <a:gd name="T64" fmla="*/ 1808 w 1900"/>
              <a:gd name="T65" fmla="*/ 202 h 1924"/>
              <a:gd name="T66" fmla="*/ 1828 w 1900"/>
              <a:gd name="T67" fmla="*/ 182 h 1924"/>
              <a:gd name="T68" fmla="*/ 1898 w 1900"/>
              <a:gd name="T69" fmla="*/ 312 h 1924"/>
              <a:gd name="T70" fmla="*/ 1534 w 1900"/>
              <a:gd name="T71" fmla="*/ 639 h 1924"/>
              <a:gd name="T72" fmla="*/ 1344 w 1900"/>
              <a:gd name="T73" fmla="*/ 822 h 1924"/>
              <a:gd name="T74" fmla="*/ 1344 w 1900"/>
              <a:gd name="T75" fmla="*/ 822 h 1924"/>
              <a:gd name="T76" fmla="*/ 1736 w 1900"/>
              <a:gd name="T77" fmla="*/ 740 h 1924"/>
              <a:gd name="T78" fmla="*/ 1728 w 1900"/>
              <a:gd name="T79" fmla="*/ 838 h 1924"/>
              <a:gd name="T80" fmla="*/ 1424 w 1900"/>
              <a:gd name="T81" fmla="*/ 939 h 1924"/>
              <a:gd name="T82" fmla="*/ 1213 w 1900"/>
              <a:gd name="T83" fmla="*/ 1223 h 1924"/>
              <a:gd name="T84" fmla="*/ 1213 w 1900"/>
              <a:gd name="T85" fmla="*/ 1350 h 1924"/>
              <a:gd name="T86" fmla="*/ 1437 w 1900"/>
              <a:gd name="T87" fmla="*/ 1794 h 1924"/>
              <a:gd name="T88" fmla="*/ 1612 w 1900"/>
              <a:gd name="T89" fmla="*/ 1924 h 1924"/>
              <a:gd name="T90" fmla="*/ 318 w 1900"/>
              <a:gd name="T91" fmla="*/ 1924 h 1924"/>
              <a:gd name="connsiteX0" fmla="*/ 1674 w 9989"/>
              <a:gd name="connsiteY0" fmla="*/ 10000 h 10000"/>
              <a:gd name="connsiteX1" fmla="*/ 2732 w 9989"/>
              <a:gd name="connsiteY1" fmla="*/ 9293 h 10000"/>
              <a:gd name="connsiteX2" fmla="*/ 3811 w 9989"/>
              <a:gd name="connsiteY2" fmla="*/ 7380 h 10000"/>
              <a:gd name="connsiteX3" fmla="*/ 3837 w 9989"/>
              <a:gd name="connsiteY3" fmla="*/ 6689 h 10000"/>
              <a:gd name="connsiteX4" fmla="*/ 2547 w 9989"/>
              <a:gd name="connsiteY4" fmla="*/ 3950 h 10000"/>
              <a:gd name="connsiteX5" fmla="*/ 0 w 9989"/>
              <a:gd name="connsiteY5" fmla="*/ 2994 h 10000"/>
              <a:gd name="connsiteX6" fmla="*/ 137 w 9989"/>
              <a:gd name="connsiteY6" fmla="*/ 2323 h 10000"/>
              <a:gd name="connsiteX7" fmla="*/ 2589 w 9989"/>
              <a:gd name="connsiteY7" fmla="*/ 3243 h 10000"/>
              <a:gd name="connsiteX8" fmla="*/ 2137 w 9989"/>
              <a:gd name="connsiteY8" fmla="*/ 0 h 10000"/>
              <a:gd name="connsiteX9" fmla="*/ 2811 w 9989"/>
              <a:gd name="connsiteY9" fmla="*/ 0 h 10000"/>
              <a:gd name="connsiteX10" fmla="*/ 3132 w 9989"/>
              <a:gd name="connsiteY10" fmla="*/ 2167 h 10000"/>
              <a:gd name="connsiteX11" fmla="*/ 3326 w 9989"/>
              <a:gd name="connsiteY11" fmla="*/ 2968 h 10000"/>
              <a:gd name="connsiteX12" fmla="*/ 3568 w 9989"/>
              <a:gd name="connsiteY12" fmla="*/ 3456 h 10000"/>
              <a:gd name="connsiteX13" fmla="*/ 3568 w 9989"/>
              <a:gd name="connsiteY13" fmla="*/ 3456 h 10000"/>
              <a:gd name="connsiteX14" fmla="*/ 4216 w 9989"/>
              <a:gd name="connsiteY14" fmla="*/ 3680 h 10000"/>
              <a:gd name="connsiteX15" fmla="*/ 4216 w 9989"/>
              <a:gd name="connsiteY15" fmla="*/ 3680 h 10000"/>
              <a:gd name="connsiteX16" fmla="*/ 4505 w 9989"/>
              <a:gd name="connsiteY16" fmla="*/ 3321 h 10000"/>
              <a:gd name="connsiteX17" fmla="*/ 5347 w 9989"/>
              <a:gd name="connsiteY17" fmla="*/ 759 h 10000"/>
              <a:gd name="connsiteX18" fmla="*/ 5384 w 9989"/>
              <a:gd name="connsiteY18" fmla="*/ 1596 h 10000"/>
              <a:gd name="connsiteX19" fmla="*/ 5674 w 9989"/>
              <a:gd name="connsiteY19" fmla="*/ 1783 h 10000"/>
              <a:gd name="connsiteX20" fmla="*/ 5753 w 9989"/>
              <a:gd name="connsiteY20" fmla="*/ 1715 h 10000"/>
              <a:gd name="connsiteX21" fmla="*/ 7232 w 9989"/>
              <a:gd name="connsiteY21" fmla="*/ 229 h 10000"/>
              <a:gd name="connsiteX22" fmla="*/ 7800 w 9989"/>
              <a:gd name="connsiteY22" fmla="*/ 509 h 10000"/>
              <a:gd name="connsiteX23" fmla="*/ 6000 w 9989"/>
              <a:gd name="connsiteY23" fmla="*/ 2344 h 10000"/>
              <a:gd name="connsiteX24" fmla="*/ 5668 w 9989"/>
              <a:gd name="connsiteY24" fmla="*/ 3025 h 10000"/>
              <a:gd name="connsiteX25" fmla="*/ 5668 w 9989"/>
              <a:gd name="connsiteY25" fmla="*/ 3025 h 10000"/>
              <a:gd name="connsiteX26" fmla="*/ 5668 w 9989"/>
              <a:gd name="connsiteY26" fmla="*/ 3290 h 10000"/>
              <a:gd name="connsiteX27" fmla="*/ 5668 w 9989"/>
              <a:gd name="connsiteY27" fmla="*/ 3389 h 10000"/>
              <a:gd name="connsiteX28" fmla="*/ 5989 w 9989"/>
              <a:gd name="connsiteY28" fmla="*/ 3836 h 10000"/>
              <a:gd name="connsiteX29" fmla="*/ 6179 w 9989"/>
              <a:gd name="connsiteY29" fmla="*/ 3773 h 10000"/>
              <a:gd name="connsiteX30" fmla="*/ 6179 w 9989"/>
              <a:gd name="connsiteY30" fmla="*/ 3773 h 10000"/>
              <a:gd name="connsiteX31" fmla="*/ 9516 w 9989"/>
              <a:gd name="connsiteY31" fmla="*/ 1050 h 10000"/>
              <a:gd name="connsiteX32" fmla="*/ 9621 w 9989"/>
              <a:gd name="connsiteY32" fmla="*/ 946 h 10000"/>
              <a:gd name="connsiteX33" fmla="*/ 9989 w 9989"/>
              <a:gd name="connsiteY33" fmla="*/ 1622 h 10000"/>
              <a:gd name="connsiteX34" fmla="*/ 8074 w 9989"/>
              <a:gd name="connsiteY34" fmla="*/ 3321 h 10000"/>
              <a:gd name="connsiteX35" fmla="*/ 7074 w 9989"/>
              <a:gd name="connsiteY35" fmla="*/ 4272 h 10000"/>
              <a:gd name="connsiteX36" fmla="*/ 7074 w 9989"/>
              <a:gd name="connsiteY36" fmla="*/ 4272 h 10000"/>
              <a:gd name="connsiteX37" fmla="*/ 9137 w 9989"/>
              <a:gd name="connsiteY37" fmla="*/ 3846 h 10000"/>
              <a:gd name="connsiteX38" fmla="*/ 9095 w 9989"/>
              <a:gd name="connsiteY38" fmla="*/ 4356 h 10000"/>
              <a:gd name="connsiteX39" fmla="*/ 7495 w 9989"/>
              <a:gd name="connsiteY39" fmla="*/ 4880 h 10000"/>
              <a:gd name="connsiteX40" fmla="*/ 6384 w 9989"/>
              <a:gd name="connsiteY40" fmla="*/ 6357 h 10000"/>
              <a:gd name="connsiteX41" fmla="*/ 6384 w 9989"/>
              <a:gd name="connsiteY41" fmla="*/ 7017 h 10000"/>
              <a:gd name="connsiteX42" fmla="*/ 7563 w 9989"/>
              <a:gd name="connsiteY42" fmla="*/ 9324 h 10000"/>
              <a:gd name="connsiteX43" fmla="*/ 8484 w 9989"/>
              <a:gd name="connsiteY43" fmla="*/ 10000 h 10000"/>
              <a:gd name="connsiteX44" fmla="*/ 1674 w 9989"/>
              <a:gd name="connsiteY44" fmla="*/ 10000 h 10000"/>
              <a:gd name="connsiteX0" fmla="*/ 1676 w 10000"/>
              <a:gd name="connsiteY0" fmla="*/ 10000 h 10000"/>
              <a:gd name="connsiteX1" fmla="*/ 2735 w 10000"/>
              <a:gd name="connsiteY1" fmla="*/ 9293 h 10000"/>
              <a:gd name="connsiteX2" fmla="*/ 3815 w 10000"/>
              <a:gd name="connsiteY2" fmla="*/ 7380 h 10000"/>
              <a:gd name="connsiteX3" fmla="*/ 3841 w 10000"/>
              <a:gd name="connsiteY3" fmla="*/ 6689 h 10000"/>
              <a:gd name="connsiteX4" fmla="*/ 2550 w 10000"/>
              <a:gd name="connsiteY4" fmla="*/ 3950 h 10000"/>
              <a:gd name="connsiteX5" fmla="*/ 0 w 10000"/>
              <a:gd name="connsiteY5" fmla="*/ 2994 h 10000"/>
              <a:gd name="connsiteX6" fmla="*/ 137 w 10000"/>
              <a:gd name="connsiteY6" fmla="*/ 2323 h 10000"/>
              <a:gd name="connsiteX7" fmla="*/ 2592 w 10000"/>
              <a:gd name="connsiteY7" fmla="*/ 3243 h 10000"/>
              <a:gd name="connsiteX8" fmla="*/ 2139 w 10000"/>
              <a:gd name="connsiteY8" fmla="*/ 0 h 10000"/>
              <a:gd name="connsiteX9" fmla="*/ 2814 w 10000"/>
              <a:gd name="connsiteY9" fmla="*/ 0 h 10000"/>
              <a:gd name="connsiteX10" fmla="*/ 3135 w 10000"/>
              <a:gd name="connsiteY10" fmla="*/ 2167 h 10000"/>
              <a:gd name="connsiteX11" fmla="*/ 3330 w 10000"/>
              <a:gd name="connsiteY11" fmla="*/ 2968 h 10000"/>
              <a:gd name="connsiteX12" fmla="*/ 3572 w 10000"/>
              <a:gd name="connsiteY12" fmla="*/ 3456 h 10000"/>
              <a:gd name="connsiteX13" fmla="*/ 3572 w 10000"/>
              <a:gd name="connsiteY13" fmla="*/ 3456 h 10000"/>
              <a:gd name="connsiteX14" fmla="*/ 4221 w 10000"/>
              <a:gd name="connsiteY14" fmla="*/ 3680 h 10000"/>
              <a:gd name="connsiteX15" fmla="*/ 4221 w 10000"/>
              <a:gd name="connsiteY15" fmla="*/ 3680 h 10000"/>
              <a:gd name="connsiteX16" fmla="*/ 4510 w 10000"/>
              <a:gd name="connsiteY16" fmla="*/ 3321 h 10000"/>
              <a:gd name="connsiteX17" fmla="*/ 5390 w 10000"/>
              <a:gd name="connsiteY17" fmla="*/ 1596 h 10000"/>
              <a:gd name="connsiteX18" fmla="*/ 5680 w 10000"/>
              <a:gd name="connsiteY18" fmla="*/ 1783 h 10000"/>
              <a:gd name="connsiteX19" fmla="*/ 5759 w 10000"/>
              <a:gd name="connsiteY19" fmla="*/ 1715 h 10000"/>
              <a:gd name="connsiteX20" fmla="*/ 7240 w 10000"/>
              <a:gd name="connsiteY20" fmla="*/ 229 h 10000"/>
              <a:gd name="connsiteX21" fmla="*/ 7809 w 10000"/>
              <a:gd name="connsiteY21" fmla="*/ 509 h 10000"/>
              <a:gd name="connsiteX22" fmla="*/ 6007 w 10000"/>
              <a:gd name="connsiteY22" fmla="*/ 2344 h 10000"/>
              <a:gd name="connsiteX23" fmla="*/ 5674 w 10000"/>
              <a:gd name="connsiteY23" fmla="*/ 3025 h 10000"/>
              <a:gd name="connsiteX24" fmla="*/ 5674 w 10000"/>
              <a:gd name="connsiteY24" fmla="*/ 3025 h 10000"/>
              <a:gd name="connsiteX25" fmla="*/ 5674 w 10000"/>
              <a:gd name="connsiteY25" fmla="*/ 3290 h 10000"/>
              <a:gd name="connsiteX26" fmla="*/ 5674 w 10000"/>
              <a:gd name="connsiteY26" fmla="*/ 3389 h 10000"/>
              <a:gd name="connsiteX27" fmla="*/ 5996 w 10000"/>
              <a:gd name="connsiteY27" fmla="*/ 3836 h 10000"/>
              <a:gd name="connsiteX28" fmla="*/ 6186 w 10000"/>
              <a:gd name="connsiteY28" fmla="*/ 3773 h 10000"/>
              <a:gd name="connsiteX29" fmla="*/ 6186 w 10000"/>
              <a:gd name="connsiteY29" fmla="*/ 3773 h 10000"/>
              <a:gd name="connsiteX30" fmla="*/ 9526 w 10000"/>
              <a:gd name="connsiteY30" fmla="*/ 1050 h 10000"/>
              <a:gd name="connsiteX31" fmla="*/ 9632 w 10000"/>
              <a:gd name="connsiteY31" fmla="*/ 946 h 10000"/>
              <a:gd name="connsiteX32" fmla="*/ 10000 w 10000"/>
              <a:gd name="connsiteY32" fmla="*/ 1622 h 10000"/>
              <a:gd name="connsiteX33" fmla="*/ 8083 w 10000"/>
              <a:gd name="connsiteY33" fmla="*/ 3321 h 10000"/>
              <a:gd name="connsiteX34" fmla="*/ 7082 w 10000"/>
              <a:gd name="connsiteY34" fmla="*/ 4272 h 10000"/>
              <a:gd name="connsiteX35" fmla="*/ 7082 w 10000"/>
              <a:gd name="connsiteY35" fmla="*/ 4272 h 10000"/>
              <a:gd name="connsiteX36" fmla="*/ 9147 w 10000"/>
              <a:gd name="connsiteY36" fmla="*/ 3846 h 10000"/>
              <a:gd name="connsiteX37" fmla="*/ 9105 w 10000"/>
              <a:gd name="connsiteY37" fmla="*/ 4356 h 10000"/>
              <a:gd name="connsiteX38" fmla="*/ 7503 w 10000"/>
              <a:gd name="connsiteY38" fmla="*/ 4880 h 10000"/>
              <a:gd name="connsiteX39" fmla="*/ 6391 w 10000"/>
              <a:gd name="connsiteY39" fmla="*/ 6357 h 10000"/>
              <a:gd name="connsiteX40" fmla="*/ 6391 w 10000"/>
              <a:gd name="connsiteY40" fmla="*/ 7017 h 10000"/>
              <a:gd name="connsiteX41" fmla="*/ 7571 w 10000"/>
              <a:gd name="connsiteY41" fmla="*/ 9324 h 10000"/>
              <a:gd name="connsiteX42" fmla="*/ 8493 w 10000"/>
              <a:gd name="connsiteY42" fmla="*/ 10000 h 10000"/>
              <a:gd name="connsiteX43" fmla="*/ 1676 w 10000"/>
              <a:gd name="connsiteY43" fmla="*/ 10000 h 10000"/>
              <a:gd name="connsiteX0" fmla="*/ 1676 w 10000"/>
              <a:gd name="connsiteY0" fmla="*/ 10000 h 10000"/>
              <a:gd name="connsiteX1" fmla="*/ 2735 w 10000"/>
              <a:gd name="connsiteY1" fmla="*/ 9293 h 10000"/>
              <a:gd name="connsiteX2" fmla="*/ 3815 w 10000"/>
              <a:gd name="connsiteY2" fmla="*/ 7380 h 10000"/>
              <a:gd name="connsiteX3" fmla="*/ 3841 w 10000"/>
              <a:gd name="connsiteY3" fmla="*/ 6689 h 10000"/>
              <a:gd name="connsiteX4" fmla="*/ 2550 w 10000"/>
              <a:gd name="connsiteY4" fmla="*/ 3950 h 10000"/>
              <a:gd name="connsiteX5" fmla="*/ 0 w 10000"/>
              <a:gd name="connsiteY5" fmla="*/ 2994 h 10000"/>
              <a:gd name="connsiteX6" fmla="*/ 137 w 10000"/>
              <a:gd name="connsiteY6" fmla="*/ 2323 h 10000"/>
              <a:gd name="connsiteX7" fmla="*/ 2592 w 10000"/>
              <a:gd name="connsiteY7" fmla="*/ 3243 h 10000"/>
              <a:gd name="connsiteX8" fmla="*/ 2139 w 10000"/>
              <a:gd name="connsiteY8" fmla="*/ 0 h 10000"/>
              <a:gd name="connsiteX9" fmla="*/ 2814 w 10000"/>
              <a:gd name="connsiteY9" fmla="*/ 0 h 10000"/>
              <a:gd name="connsiteX10" fmla="*/ 3135 w 10000"/>
              <a:gd name="connsiteY10" fmla="*/ 2167 h 10000"/>
              <a:gd name="connsiteX11" fmla="*/ 3330 w 10000"/>
              <a:gd name="connsiteY11" fmla="*/ 2968 h 10000"/>
              <a:gd name="connsiteX12" fmla="*/ 3572 w 10000"/>
              <a:gd name="connsiteY12" fmla="*/ 3456 h 10000"/>
              <a:gd name="connsiteX13" fmla="*/ 3572 w 10000"/>
              <a:gd name="connsiteY13" fmla="*/ 3456 h 10000"/>
              <a:gd name="connsiteX14" fmla="*/ 4221 w 10000"/>
              <a:gd name="connsiteY14" fmla="*/ 3680 h 10000"/>
              <a:gd name="connsiteX15" fmla="*/ 4221 w 10000"/>
              <a:gd name="connsiteY15" fmla="*/ 3680 h 10000"/>
              <a:gd name="connsiteX16" fmla="*/ 4510 w 10000"/>
              <a:gd name="connsiteY16" fmla="*/ 3321 h 10000"/>
              <a:gd name="connsiteX17" fmla="*/ 5680 w 10000"/>
              <a:gd name="connsiteY17" fmla="*/ 1783 h 10000"/>
              <a:gd name="connsiteX18" fmla="*/ 5759 w 10000"/>
              <a:gd name="connsiteY18" fmla="*/ 1715 h 10000"/>
              <a:gd name="connsiteX19" fmla="*/ 7240 w 10000"/>
              <a:gd name="connsiteY19" fmla="*/ 229 h 10000"/>
              <a:gd name="connsiteX20" fmla="*/ 7809 w 10000"/>
              <a:gd name="connsiteY20" fmla="*/ 509 h 10000"/>
              <a:gd name="connsiteX21" fmla="*/ 6007 w 10000"/>
              <a:gd name="connsiteY21" fmla="*/ 2344 h 10000"/>
              <a:gd name="connsiteX22" fmla="*/ 5674 w 10000"/>
              <a:gd name="connsiteY22" fmla="*/ 3025 h 10000"/>
              <a:gd name="connsiteX23" fmla="*/ 5674 w 10000"/>
              <a:gd name="connsiteY23" fmla="*/ 3025 h 10000"/>
              <a:gd name="connsiteX24" fmla="*/ 5674 w 10000"/>
              <a:gd name="connsiteY24" fmla="*/ 3290 h 10000"/>
              <a:gd name="connsiteX25" fmla="*/ 5674 w 10000"/>
              <a:gd name="connsiteY25" fmla="*/ 3389 h 10000"/>
              <a:gd name="connsiteX26" fmla="*/ 5996 w 10000"/>
              <a:gd name="connsiteY26" fmla="*/ 3836 h 10000"/>
              <a:gd name="connsiteX27" fmla="*/ 6186 w 10000"/>
              <a:gd name="connsiteY27" fmla="*/ 3773 h 10000"/>
              <a:gd name="connsiteX28" fmla="*/ 6186 w 10000"/>
              <a:gd name="connsiteY28" fmla="*/ 3773 h 10000"/>
              <a:gd name="connsiteX29" fmla="*/ 9526 w 10000"/>
              <a:gd name="connsiteY29" fmla="*/ 1050 h 10000"/>
              <a:gd name="connsiteX30" fmla="*/ 9632 w 10000"/>
              <a:gd name="connsiteY30" fmla="*/ 946 h 10000"/>
              <a:gd name="connsiteX31" fmla="*/ 10000 w 10000"/>
              <a:gd name="connsiteY31" fmla="*/ 1622 h 10000"/>
              <a:gd name="connsiteX32" fmla="*/ 8083 w 10000"/>
              <a:gd name="connsiteY32" fmla="*/ 3321 h 10000"/>
              <a:gd name="connsiteX33" fmla="*/ 7082 w 10000"/>
              <a:gd name="connsiteY33" fmla="*/ 4272 h 10000"/>
              <a:gd name="connsiteX34" fmla="*/ 7082 w 10000"/>
              <a:gd name="connsiteY34" fmla="*/ 4272 h 10000"/>
              <a:gd name="connsiteX35" fmla="*/ 9147 w 10000"/>
              <a:gd name="connsiteY35" fmla="*/ 3846 h 10000"/>
              <a:gd name="connsiteX36" fmla="*/ 9105 w 10000"/>
              <a:gd name="connsiteY36" fmla="*/ 4356 h 10000"/>
              <a:gd name="connsiteX37" fmla="*/ 7503 w 10000"/>
              <a:gd name="connsiteY37" fmla="*/ 4880 h 10000"/>
              <a:gd name="connsiteX38" fmla="*/ 6391 w 10000"/>
              <a:gd name="connsiteY38" fmla="*/ 6357 h 10000"/>
              <a:gd name="connsiteX39" fmla="*/ 6391 w 10000"/>
              <a:gd name="connsiteY39" fmla="*/ 7017 h 10000"/>
              <a:gd name="connsiteX40" fmla="*/ 7571 w 10000"/>
              <a:gd name="connsiteY40" fmla="*/ 9324 h 10000"/>
              <a:gd name="connsiteX41" fmla="*/ 8493 w 10000"/>
              <a:gd name="connsiteY41" fmla="*/ 10000 h 10000"/>
              <a:gd name="connsiteX42" fmla="*/ 1676 w 10000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0000" h="10000">
                <a:moveTo>
                  <a:pt x="1676" y="10000"/>
                </a:moveTo>
                <a:lnTo>
                  <a:pt x="2735" y="9293"/>
                </a:lnTo>
                <a:cubicBezTo>
                  <a:pt x="3383" y="8862"/>
                  <a:pt x="3783" y="8155"/>
                  <a:pt x="3815" y="7380"/>
                </a:cubicBezTo>
                <a:cubicBezTo>
                  <a:pt x="3824" y="7150"/>
                  <a:pt x="3832" y="6919"/>
                  <a:pt x="3841" y="6689"/>
                </a:cubicBezTo>
                <a:cubicBezTo>
                  <a:pt x="3915" y="5000"/>
                  <a:pt x="3383" y="4194"/>
                  <a:pt x="2550" y="3950"/>
                </a:cubicBezTo>
                <a:lnTo>
                  <a:pt x="0" y="2994"/>
                </a:lnTo>
                <a:cubicBezTo>
                  <a:pt x="46" y="2770"/>
                  <a:pt x="91" y="2547"/>
                  <a:pt x="137" y="2323"/>
                </a:cubicBezTo>
                <a:lnTo>
                  <a:pt x="2592" y="3243"/>
                </a:lnTo>
                <a:lnTo>
                  <a:pt x="2139" y="0"/>
                </a:lnTo>
                <a:lnTo>
                  <a:pt x="2814" y="0"/>
                </a:lnTo>
                <a:lnTo>
                  <a:pt x="3135" y="2167"/>
                </a:lnTo>
                <a:cubicBezTo>
                  <a:pt x="3177" y="2443"/>
                  <a:pt x="3241" y="2708"/>
                  <a:pt x="3330" y="2968"/>
                </a:cubicBezTo>
                <a:cubicBezTo>
                  <a:pt x="3399" y="3160"/>
                  <a:pt x="3483" y="3347"/>
                  <a:pt x="3572" y="3456"/>
                </a:cubicBezTo>
                <a:lnTo>
                  <a:pt x="3572" y="3456"/>
                </a:lnTo>
                <a:cubicBezTo>
                  <a:pt x="3736" y="3597"/>
                  <a:pt x="4131" y="3706"/>
                  <a:pt x="4221" y="3680"/>
                </a:cubicBezTo>
                <a:lnTo>
                  <a:pt x="4221" y="3680"/>
                </a:lnTo>
                <a:cubicBezTo>
                  <a:pt x="4384" y="3628"/>
                  <a:pt x="4500" y="3488"/>
                  <a:pt x="4510" y="3321"/>
                </a:cubicBezTo>
                <a:lnTo>
                  <a:pt x="5680" y="1783"/>
                </a:lnTo>
                <a:cubicBezTo>
                  <a:pt x="5680" y="1783"/>
                  <a:pt x="5738" y="1736"/>
                  <a:pt x="5759" y="1715"/>
                </a:cubicBezTo>
                <a:lnTo>
                  <a:pt x="7240" y="229"/>
                </a:lnTo>
                <a:lnTo>
                  <a:pt x="7809" y="509"/>
                </a:lnTo>
                <a:lnTo>
                  <a:pt x="6007" y="2344"/>
                </a:lnTo>
                <a:cubicBezTo>
                  <a:pt x="5822" y="2531"/>
                  <a:pt x="5706" y="2770"/>
                  <a:pt x="5674" y="3025"/>
                </a:cubicBezTo>
                <a:lnTo>
                  <a:pt x="5674" y="3025"/>
                </a:lnTo>
                <a:cubicBezTo>
                  <a:pt x="5664" y="3113"/>
                  <a:pt x="5674" y="3202"/>
                  <a:pt x="5674" y="3290"/>
                </a:cubicBezTo>
                <a:lnTo>
                  <a:pt x="5674" y="3389"/>
                </a:lnTo>
                <a:cubicBezTo>
                  <a:pt x="5680" y="3768"/>
                  <a:pt x="5853" y="3846"/>
                  <a:pt x="5996" y="3836"/>
                </a:cubicBezTo>
                <a:cubicBezTo>
                  <a:pt x="6065" y="3836"/>
                  <a:pt x="6133" y="3810"/>
                  <a:pt x="6186" y="3773"/>
                </a:cubicBezTo>
                <a:lnTo>
                  <a:pt x="6186" y="3773"/>
                </a:lnTo>
                <a:cubicBezTo>
                  <a:pt x="7366" y="2947"/>
                  <a:pt x="8483" y="2037"/>
                  <a:pt x="9526" y="1050"/>
                </a:cubicBezTo>
                <a:cubicBezTo>
                  <a:pt x="9561" y="1015"/>
                  <a:pt x="9597" y="981"/>
                  <a:pt x="9632" y="946"/>
                </a:cubicBezTo>
                <a:cubicBezTo>
                  <a:pt x="9632" y="946"/>
                  <a:pt x="10011" y="1590"/>
                  <a:pt x="10000" y="1622"/>
                </a:cubicBezTo>
                <a:cubicBezTo>
                  <a:pt x="9995" y="1642"/>
                  <a:pt x="8799" y="2692"/>
                  <a:pt x="8083" y="3321"/>
                </a:cubicBezTo>
                <a:cubicBezTo>
                  <a:pt x="7735" y="3623"/>
                  <a:pt x="7403" y="3940"/>
                  <a:pt x="7082" y="4272"/>
                </a:cubicBezTo>
                <a:lnTo>
                  <a:pt x="7082" y="4272"/>
                </a:lnTo>
                <a:lnTo>
                  <a:pt x="9147" y="3846"/>
                </a:lnTo>
                <a:lnTo>
                  <a:pt x="9105" y="4356"/>
                </a:lnTo>
                <a:lnTo>
                  <a:pt x="7503" y="4880"/>
                </a:lnTo>
                <a:cubicBezTo>
                  <a:pt x="6807" y="5083"/>
                  <a:pt x="6386" y="5639"/>
                  <a:pt x="6391" y="6357"/>
                </a:cubicBezTo>
                <a:lnTo>
                  <a:pt x="6391" y="7017"/>
                </a:lnTo>
                <a:cubicBezTo>
                  <a:pt x="6396" y="7926"/>
                  <a:pt x="6834" y="8779"/>
                  <a:pt x="7571" y="9324"/>
                </a:cubicBezTo>
                <a:lnTo>
                  <a:pt x="8493" y="10000"/>
                </a:lnTo>
                <a:lnTo>
                  <a:pt x="1676" y="1000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3175" cmpd="sng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" name="Oval 6">
            <a:extLst>
              <a:ext uri="{FF2B5EF4-FFF2-40B4-BE49-F238E27FC236}">
                <a16:creationId xmlns:a16="http://schemas.microsoft.com/office/drawing/2014/main" id="{003C8602-600B-B8A3-DFCA-1810DA6349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4486" y="1841600"/>
            <a:ext cx="2220839" cy="2211970"/>
          </a:xfrm>
          <a:prstGeom prst="ellipse">
            <a:avLst/>
          </a:prstGeom>
          <a:solidFill>
            <a:schemeClr val="accent2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Oval 5">
            <a:extLst>
              <a:ext uri="{FF2B5EF4-FFF2-40B4-BE49-F238E27FC236}">
                <a16:creationId xmlns:a16="http://schemas.microsoft.com/office/drawing/2014/main" id="{4765EC78-2755-5567-7FC6-1F8A729608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4577" y="3663326"/>
            <a:ext cx="1821726" cy="1816406"/>
          </a:xfrm>
          <a:prstGeom prst="ellipse">
            <a:avLst/>
          </a:prstGeom>
          <a:solidFill>
            <a:schemeClr val="accent1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8">
            <a:extLst>
              <a:ext uri="{FF2B5EF4-FFF2-40B4-BE49-F238E27FC236}">
                <a16:creationId xmlns:a16="http://schemas.microsoft.com/office/drawing/2014/main" id="{E4926F41-A388-9385-42A8-E8A27827B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3572" y="2505013"/>
            <a:ext cx="1685140" cy="1678046"/>
          </a:xfrm>
          <a:prstGeom prst="ellipse">
            <a:avLst/>
          </a:prstGeom>
          <a:solidFill>
            <a:schemeClr val="accent3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Oval 10">
            <a:extLst>
              <a:ext uri="{FF2B5EF4-FFF2-40B4-BE49-F238E27FC236}">
                <a16:creationId xmlns:a16="http://schemas.microsoft.com/office/drawing/2014/main" id="{BC37B137-D4EA-2825-7026-9D5748418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3550" y="4587493"/>
            <a:ext cx="1062526" cy="1058978"/>
          </a:xfrm>
          <a:prstGeom prst="ellipse">
            <a:avLst/>
          </a:prstGeom>
          <a:solidFill>
            <a:schemeClr val="accent5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Oval 9">
            <a:extLst>
              <a:ext uri="{FF2B5EF4-FFF2-40B4-BE49-F238E27FC236}">
                <a16:creationId xmlns:a16="http://schemas.microsoft.com/office/drawing/2014/main" id="{50FCC64D-35F9-9F5B-7F9B-CD0CF7C2B2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7980" y="3259980"/>
            <a:ext cx="1424388" cy="1419066"/>
          </a:xfrm>
          <a:prstGeom prst="ellipse">
            <a:avLst/>
          </a:prstGeom>
          <a:solidFill>
            <a:schemeClr val="accent4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C177C42-0B62-9E52-775B-2B986209854D}"/>
              </a:ext>
            </a:extLst>
          </p:cNvPr>
          <p:cNvSpPr txBox="1">
            <a:spLocks/>
          </p:cNvSpPr>
          <p:nvPr/>
        </p:nvSpPr>
        <p:spPr>
          <a:xfrm>
            <a:off x="594250" y="4387553"/>
            <a:ext cx="1898732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1"/>
                </a:solidFill>
                <a:latin typeface="+mn-lt"/>
              </a:rPr>
              <a:t>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986D9DE-CCA1-3A1C-7DC1-B56B17961884}"/>
              </a:ext>
            </a:extLst>
          </p:cNvPr>
          <p:cNvSpPr txBox="1">
            <a:spLocks/>
          </p:cNvSpPr>
          <p:nvPr/>
        </p:nvSpPr>
        <p:spPr>
          <a:xfrm>
            <a:off x="1896727" y="2170445"/>
            <a:ext cx="1821726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2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2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2"/>
                </a:solidFill>
                <a:latin typeface="+mn-lt"/>
              </a:rPr>
              <a:t>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7AC4602-BC0C-3188-ABA5-1081A1584ED6}"/>
              </a:ext>
            </a:extLst>
          </p:cNvPr>
          <p:cNvSpPr txBox="1">
            <a:spLocks/>
          </p:cNvSpPr>
          <p:nvPr/>
        </p:nvSpPr>
        <p:spPr>
          <a:xfrm>
            <a:off x="8037848" y="1971252"/>
            <a:ext cx="1891460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3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3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3"/>
                </a:solidFill>
                <a:latin typeface="+mn-lt"/>
              </a:rPr>
              <a:t>TITL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973D73D-118B-F981-13CF-54907FC83EF1}"/>
              </a:ext>
            </a:extLst>
          </p:cNvPr>
          <p:cNvSpPr txBox="1">
            <a:spLocks/>
          </p:cNvSpPr>
          <p:nvPr/>
        </p:nvSpPr>
        <p:spPr>
          <a:xfrm>
            <a:off x="9186028" y="4728167"/>
            <a:ext cx="1953353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5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5"/>
                </a:solidFill>
                <a:latin typeface="+mn-lt"/>
              </a:rPr>
              <a:t>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CE0B9C3-2D5E-322C-30A3-AED00128900A}"/>
              </a:ext>
            </a:extLst>
          </p:cNvPr>
          <p:cNvSpPr txBox="1">
            <a:spLocks/>
          </p:cNvSpPr>
          <p:nvPr/>
        </p:nvSpPr>
        <p:spPr>
          <a:xfrm>
            <a:off x="9463946" y="3232244"/>
            <a:ext cx="1953353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4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4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4"/>
                </a:solidFill>
                <a:latin typeface="+mn-lt"/>
              </a:rPr>
              <a:t>TITLE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63354C3D-D05E-2B7C-FC39-36A6B2CDCE6E}"/>
              </a:ext>
            </a:extLst>
          </p:cNvPr>
          <p:cNvSpPr txBox="1">
            <a:spLocks/>
          </p:cNvSpPr>
          <p:nvPr/>
        </p:nvSpPr>
        <p:spPr>
          <a:xfrm>
            <a:off x="8326829" y="2256966"/>
            <a:ext cx="220071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2" name="Inhaltsplatzhalter 4">
            <a:extLst>
              <a:ext uri="{FF2B5EF4-FFF2-40B4-BE49-F238E27FC236}">
                <a16:creationId xmlns:a16="http://schemas.microsoft.com/office/drawing/2014/main" id="{580240E8-47A2-6637-61B3-E3558A2F6718}"/>
              </a:ext>
            </a:extLst>
          </p:cNvPr>
          <p:cNvSpPr txBox="1">
            <a:spLocks/>
          </p:cNvSpPr>
          <p:nvPr/>
        </p:nvSpPr>
        <p:spPr>
          <a:xfrm>
            <a:off x="9691959" y="3520548"/>
            <a:ext cx="220071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3" name="Inhaltsplatzhalter 4">
            <a:extLst>
              <a:ext uri="{FF2B5EF4-FFF2-40B4-BE49-F238E27FC236}">
                <a16:creationId xmlns:a16="http://schemas.microsoft.com/office/drawing/2014/main" id="{55945A87-4BF0-DD51-36CF-5D9DAE43D2CE}"/>
              </a:ext>
            </a:extLst>
          </p:cNvPr>
          <p:cNvSpPr txBox="1">
            <a:spLocks/>
          </p:cNvSpPr>
          <p:nvPr/>
        </p:nvSpPr>
        <p:spPr>
          <a:xfrm>
            <a:off x="9427185" y="5039392"/>
            <a:ext cx="220071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4" name="Inhaltsplatzhalter 4">
            <a:extLst>
              <a:ext uri="{FF2B5EF4-FFF2-40B4-BE49-F238E27FC236}">
                <a16:creationId xmlns:a16="http://schemas.microsoft.com/office/drawing/2014/main" id="{99218260-1652-540B-8F86-3C433757F3C8}"/>
              </a:ext>
            </a:extLst>
          </p:cNvPr>
          <p:cNvSpPr txBox="1">
            <a:spLocks/>
          </p:cNvSpPr>
          <p:nvPr/>
        </p:nvSpPr>
        <p:spPr>
          <a:xfrm>
            <a:off x="327015" y="4707088"/>
            <a:ext cx="1898732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5" name="Inhaltsplatzhalter 4">
            <a:extLst>
              <a:ext uri="{FF2B5EF4-FFF2-40B4-BE49-F238E27FC236}">
                <a16:creationId xmlns:a16="http://schemas.microsoft.com/office/drawing/2014/main" id="{36A4AEA0-C8A9-0B65-C987-4165D726A08C}"/>
              </a:ext>
            </a:extLst>
          </p:cNvPr>
          <p:cNvSpPr txBox="1">
            <a:spLocks/>
          </p:cNvSpPr>
          <p:nvPr/>
        </p:nvSpPr>
        <p:spPr>
          <a:xfrm>
            <a:off x="1277471" y="2447416"/>
            <a:ext cx="2244176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D0062AB-980D-DDD5-6A13-C9FFC581BE4A}"/>
              </a:ext>
            </a:extLst>
          </p:cNvPr>
          <p:cNvGrpSpPr/>
          <p:nvPr/>
        </p:nvGrpSpPr>
        <p:grpSpPr>
          <a:xfrm>
            <a:off x="7005588" y="3074695"/>
            <a:ext cx="651514" cy="43934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F53CC003-EA3C-9A85-D4CD-0E98745ECF75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460B641E-A2CA-DEDA-0C65-7DE32A0AFDCC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78999F63-5400-D550-FDCF-E033DC73461A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5B80ED7-F2D9-8DD3-1C6E-2162D1CE9206}"/>
              </a:ext>
            </a:extLst>
          </p:cNvPr>
          <p:cNvGrpSpPr>
            <a:grpSpLocks noChangeAspect="1"/>
          </p:cNvGrpSpPr>
          <p:nvPr/>
        </p:nvGrpSpPr>
        <p:grpSpPr>
          <a:xfrm>
            <a:off x="5320490" y="2605387"/>
            <a:ext cx="428830" cy="684396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8931AC16-EC15-DDDF-E82C-1BCBD997B6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ACC88AE8-5449-E7A8-590C-DB66C6F01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33" name="Freeform 23">
            <a:extLst>
              <a:ext uri="{FF2B5EF4-FFF2-40B4-BE49-F238E27FC236}">
                <a16:creationId xmlns:a16="http://schemas.microsoft.com/office/drawing/2014/main" id="{D1366DB8-F825-310B-2A7F-782622B69243}"/>
              </a:ext>
            </a:extLst>
          </p:cNvPr>
          <p:cNvSpPr>
            <a:spLocks noEditPoints="1"/>
          </p:cNvSpPr>
          <p:nvPr/>
        </p:nvSpPr>
        <p:spPr bwMode="auto">
          <a:xfrm>
            <a:off x="3806220" y="4315399"/>
            <a:ext cx="578440" cy="51226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3BC3E6B-94E1-0128-35D0-5BC6BD511690}"/>
              </a:ext>
            </a:extLst>
          </p:cNvPr>
          <p:cNvGrpSpPr>
            <a:grpSpLocks noChangeAspect="1"/>
          </p:cNvGrpSpPr>
          <p:nvPr/>
        </p:nvGrpSpPr>
        <p:grpSpPr>
          <a:xfrm>
            <a:off x="8125220" y="3769252"/>
            <a:ext cx="434548" cy="413626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D6FD725E-CCD2-B69E-1E04-39F39A5D94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FC5FD482-AD0F-82BF-EE14-103ECCD47D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CAEEEFE6-2460-AB43-C0C4-B4FD1FAF78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9544FAA2-F9B8-D69C-A0F9-EC905E6DD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5DC5072A-E12F-BC13-68DF-2F958703F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6451604-D897-6A44-FCD1-47034698C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98B6BA-EDA7-C8C3-8E84-CCC55962C2B4}"/>
              </a:ext>
            </a:extLst>
          </p:cNvPr>
          <p:cNvGrpSpPr/>
          <p:nvPr/>
        </p:nvGrpSpPr>
        <p:grpSpPr>
          <a:xfrm>
            <a:off x="7671355" y="4959551"/>
            <a:ext cx="651514" cy="43934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DA29ED96-510F-B2D6-ECE6-7FE27366640A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3" name="Freeform 18">
              <a:extLst>
                <a:ext uri="{FF2B5EF4-FFF2-40B4-BE49-F238E27FC236}">
                  <a16:creationId xmlns:a16="http://schemas.microsoft.com/office/drawing/2014/main" id="{BC17A4DD-F4AD-F91A-12E8-627F4BDB672C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771FDFB7-B954-84A7-C666-CF5DA8F64756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53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1</TotalTime>
  <Words>123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Tree infographic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39</cp:revision>
  <dcterms:created xsi:type="dcterms:W3CDTF">2021-03-31T02:49:57Z</dcterms:created>
  <dcterms:modified xsi:type="dcterms:W3CDTF">2025-10-15T08:25:10Z</dcterms:modified>
  <cp:category/>
</cp:coreProperties>
</file>